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17"/>
  </p:notesMasterIdLst>
  <p:handoutMasterIdLst>
    <p:handoutMasterId r:id="rId18"/>
  </p:handoutMasterIdLst>
  <p:sldIdLst>
    <p:sldId id="296" r:id="rId6"/>
    <p:sldId id="293" r:id="rId7"/>
    <p:sldId id="257" r:id="rId8"/>
    <p:sldId id="297" r:id="rId9"/>
    <p:sldId id="299" r:id="rId10"/>
    <p:sldId id="300" r:id="rId11"/>
    <p:sldId id="301" r:id="rId12"/>
    <p:sldId id="302" r:id="rId13"/>
    <p:sldId id="303" r:id="rId14"/>
    <p:sldId id="304" r:id="rId15"/>
    <p:sldId id="292" r:id="rId16"/>
  </p:sldIdLst>
  <p:sldSz cx="12188825" cy="6858000"/>
  <p:notesSz cx="6858000" cy="9296400"/>
  <p:custDataLst>
    <p:tags r:id="rId19"/>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32" autoAdjust="0"/>
    <p:restoredTop sz="49505" autoAdjust="0"/>
  </p:normalViewPr>
  <p:slideViewPr>
    <p:cSldViewPr snapToGrid="0">
      <p:cViewPr varScale="1">
        <p:scale>
          <a:sx n="57" d="100"/>
          <a:sy n="57" d="100"/>
        </p:scale>
        <p:origin x="288" y="48"/>
      </p:cViewPr>
      <p:guideLst>
        <p:guide orient="horz" pos="895"/>
        <p:guide orient="horz" pos="719"/>
        <p:guide orient="horz" pos="4166"/>
        <p:guide orient="horz" pos="3937"/>
        <p:guide orient="horz" pos="1068"/>
        <p:guide pos="326"/>
        <p:guide pos="7355"/>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4"/>
            </a:solidFill>
          </c:spPr>
          <c:explosion val="10"/>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4"/>
            </a:solidFill>
          </c:spPr>
          <c:explosion val="10"/>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20/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20/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6643699" y="1762230"/>
            <a:ext cx="4117964" cy="2202876"/>
          </a:xfrm>
          <a:prstGeom prst="rect">
            <a:avLst/>
          </a:prstGeom>
        </p:spPr>
      </p:pic>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43699" y="1762230"/>
            <a:ext cx="4117964" cy="2202876"/>
          </a:xfrm>
          <a:prstGeom prst="rect">
            <a:avLst/>
          </a:prstGeom>
        </p:spPr>
      </p:pic>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43699" y="1762230"/>
            <a:ext cx="4117964" cy="220287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flipH="1">
            <a:off x="10170748" y="1068123"/>
            <a:ext cx="381220" cy="1538244"/>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flipH="1">
            <a:off x="10939870" y="3802806"/>
            <a:ext cx="381220" cy="1538244"/>
          </a:xfrm>
          <a:prstGeom prst="rect">
            <a:avLst/>
          </a:prstGeom>
        </p:spPr>
      </p:pic>
      <p:cxnSp>
        <p:nvCxnSpPr>
          <p:cNvPr id="12" name="Straight Connector 11"/>
          <p:cNvCxnSpPr/>
          <p:nvPr userDrawn="1"/>
        </p:nvCxnSpPr>
        <p:spPr>
          <a:xfrm>
            <a:off x="11054443" y="3831945"/>
            <a:ext cx="0" cy="32857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11200266" y="3708798"/>
            <a:ext cx="0" cy="45172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11362417" y="3480617"/>
            <a:ext cx="8164" cy="68253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90399" y="2209547"/>
            <a:ext cx="607738" cy="2452258"/>
          </a:xfrm>
          <a:prstGeom prst="rect">
            <a:avLst/>
          </a:prstGeom>
        </p:spPr>
      </p:pic>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8970598" y="2398902"/>
            <a:ext cx="381220" cy="1538244"/>
          </a:xfrm>
          <a:prstGeom prst="rect">
            <a:avLst/>
          </a:prstGeom>
        </p:spPr>
      </p:pic>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4279" y="2660819"/>
            <a:ext cx="495900" cy="2000986"/>
          </a:xfrm>
          <a:prstGeom prst="rect">
            <a:avLst/>
          </a:prstGeom>
        </p:spPr>
      </p:pic>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902" y="3072036"/>
            <a:ext cx="3223021" cy="690417"/>
          </a:xfrm>
          <a:prstGeom prst="rect">
            <a:avLst/>
          </a:prstGeom>
        </p:spPr>
      </p:pic>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0.xml.rels>&#65279;<?xml version="1.0" encoding="utf-8"?><Relationships xmlns="http://schemas.openxmlformats.org/package/2006/relationships"><Relationship Type="http://schemas.openxmlformats.org/officeDocument/2006/relationships/slideLayout" Target="../slideLayouts/slideLayout11.xml" Id="rId1" /></Relationships>
</file>

<file path=ppt/slides/_rels/slide11.xml.rels>&#65279;<?xml version="1.0" encoding="utf-8"?><Relationships xmlns="http://schemas.openxmlformats.org/package/2006/relationships"><Relationship Type="http://schemas.openxmlformats.org/officeDocument/2006/relationships/slideLayout" Target="../slideLayouts/slideLayout15.xml" Id="rId3" /><Relationship Type="http://schemas.openxmlformats.org/officeDocument/2006/relationships/tags" Target="../tags/tag6.xml" Id="rId2" /><Relationship Type="http://schemas.openxmlformats.org/officeDocument/2006/relationships/vmlDrawing" Target="../drawings/vmlDrawing3.vml" Id="rId1" /><Relationship Type="http://schemas.openxmlformats.org/officeDocument/2006/relationships/image" Target="../media/image11.emf" Id="rId6" /><Relationship Type="http://schemas.openxmlformats.org/officeDocument/2006/relationships/oleObject" Target="../embeddings/oleObject3.bin" Id="rId5" /></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65279;<?xml version="1.0" encoding="utf-8"?><Relationships xmlns="http://schemas.openxmlformats.org/package/2006/relationships"><Relationship Type="http://schemas.openxmlformats.org/officeDocument/2006/relationships/slideLayout" Target="../slideLayouts/slideLayout6.xml" Id="rId1" /></Relationships>
</file>

<file path=ppt/slides/_rels/slide5.xml.rels>&#65279;<?xml version="1.0" encoding="utf-8"?><Relationships xmlns="http://schemas.openxmlformats.org/package/2006/relationships"><Relationship Type="http://schemas.openxmlformats.org/officeDocument/2006/relationships/chart" Target="../charts/chart1.xml" Id="rId3" /><Relationship Type="http://schemas.openxmlformats.org/officeDocument/2006/relationships/slideLayout" Target="../slideLayouts/slideLayout6.xml" Id="rId1" /><Relationship Type="http://schemas.openxmlformats.org/officeDocument/2006/relationships/chart" Target="../charts/chart2.xml" Id="rId4" /></Relationships>
</file>

<file path=ppt/slides/_rels/slide6.xml.rels>&#65279;<?xml version="1.0" encoding="utf-8"?><Relationships xmlns="http://schemas.openxmlformats.org/package/2006/relationships"><Relationship Type="http://schemas.openxmlformats.org/officeDocument/2006/relationships/slideLayout" Target="../slideLayouts/slideLayout11.xml" Id="rId1" /></Relationships>
</file>

<file path=ppt/slides/_rels/slide7.xml.rels>&#65279;<?xml version="1.0" encoding="utf-8"?><Relationships xmlns="http://schemas.openxmlformats.org/package/2006/relationships"><Relationship Type="http://schemas.openxmlformats.org/officeDocument/2006/relationships/slideLayout" Target="../slideLayouts/slideLayout12.xml" Id="rId1" /></Relationships>
</file>

<file path=ppt/slides/_rels/slide8.xml.rels>&#65279;<?xml version="1.0" encoding="utf-8"?><Relationships xmlns="http://schemas.openxmlformats.org/package/2006/relationships"><Relationship Type="http://schemas.openxmlformats.org/officeDocument/2006/relationships/slideLayout" Target="../slideLayouts/slideLayout13.xml" Id="rId1" /></Relationships>
</file>

<file path=ppt/slides/_rels/slide9.xml.rels>&#65279;<?xml version="1.0" encoding="utf-8"?><Relationships xmlns="http://schemas.openxmlformats.org/package/2006/relationships"><Relationship Type="http://schemas.openxmlformats.org/officeDocument/2006/relationships/slideLayout" Target="../slideLayouts/slideLayout9.xml" Id="rId1"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ashtag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Speaker] / [Twitter]</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ntity Framework Migrations</a:t>
            </a:r>
            <a:endParaRPr lang="en-US" dirty="0"/>
          </a:p>
        </p:txBody>
      </p:sp>
      <p:sp>
        <p:nvSpPr>
          <p:cNvPr id="5" name="Subtitle 4"/>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05404942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sz="6000" dirty="0" smtClean="0"/>
              <a:t>Building and Deploying Websites with ASP.NET MVC 4</a:t>
            </a:r>
            <a:endParaRPr lang="en-US" sz="6000" dirty="0"/>
          </a:p>
        </p:txBody>
      </p:sp>
      <p:sp>
        <p:nvSpPr>
          <p:cNvPr id="7" name="Text Placeholder 6"/>
          <p:cNvSpPr>
            <a:spLocks noGrp="1"/>
          </p:cNvSpPr>
          <p:nvPr>
            <p:ph type="body" sz="quarter" idx="11"/>
          </p:nvPr>
        </p:nvSpPr>
        <p:spPr>
          <a:xfrm>
            <a:off x="519113" y="5460240"/>
            <a:ext cx="5454333" cy="738664"/>
          </a:xfrm>
        </p:spPr>
        <p:txBody>
          <a:bodyPr/>
          <a:lstStyle/>
          <a:p>
            <a:r>
              <a:rPr lang="en-US" dirty="0" smtClean="0"/>
              <a:t>[Speaker]</a:t>
            </a:r>
          </a:p>
          <a:p>
            <a:r>
              <a:rPr lang="en-US" dirty="0" smtClean="0"/>
              <a:t>[Company]</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8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1591775"/>
            <a:ext cx="8194321" cy="4893647"/>
          </a:xfrm>
        </p:spPr>
        <p:txBody>
          <a:bodyPr/>
          <a:lstStyle/>
          <a:p>
            <a:pPr lvl="0"/>
            <a:r>
              <a:rPr lang="en-US" sz="4000" dirty="0"/>
              <a:t>Introduction to ASP.NET </a:t>
            </a:r>
            <a:r>
              <a:rPr lang="en-US" sz="4000" dirty="0" smtClean="0"/>
              <a:t>MVC</a:t>
            </a:r>
            <a:endParaRPr lang="en-US" sz="4000" dirty="0"/>
          </a:p>
          <a:p>
            <a:pPr lvl="0"/>
            <a:r>
              <a:rPr lang="en-US" sz="4000" dirty="0" smtClean="0"/>
              <a:t>Creating a new ASP.NET MVC site</a:t>
            </a:r>
            <a:endParaRPr lang="en-US" sz="4000" dirty="0"/>
          </a:p>
          <a:p>
            <a:pPr lvl="0"/>
            <a:r>
              <a:rPr lang="en-US" sz="4000" dirty="0"/>
              <a:t>Adding a </a:t>
            </a:r>
            <a:r>
              <a:rPr lang="en-US" sz="4000" dirty="0" smtClean="0"/>
              <a:t>model / controller / view</a:t>
            </a:r>
            <a:endParaRPr lang="en-US" sz="4000" dirty="0"/>
          </a:p>
          <a:p>
            <a:pPr lvl="0"/>
            <a:r>
              <a:rPr lang="en-US" sz="4000" dirty="0"/>
              <a:t>Entity Framework Code </a:t>
            </a:r>
            <a:r>
              <a:rPr lang="en-US" sz="4000" dirty="0" smtClean="0"/>
              <a:t>First</a:t>
            </a:r>
            <a:endParaRPr lang="en-US" sz="4000" dirty="0"/>
          </a:p>
          <a:p>
            <a:pPr lvl="0"/>
            <a:r>
              <a:rPr lang="en-US" sz="4000" dirty="0"/>
              <a:t>Deploying to Windows Azure Web </a:t>
            </a:r>
            <a:r>
              <a:rPr lang="en-US" sz="4000" dirty="0" smtClean="0"/>
              <a:t>Sites</a:t>
            </a:r>
            <a:endParaRPr lang="en-US" sz="4000" dirty="0"/>
          </a:p>
          <a:p>
            <a:r>
              <a:rPr lang="en-US" sz="4000" dirty="0"/>
              <a:t>Entity Framework </a:t>
            </a:r>
            <a:r>
              <a:rPr lang="en-US" sz="4000" dirty="0" smtClean="0"/>
              <a:t>Migrations</a:t>
            </a:r>
            <a:endParaRPr lang="en-US" sz="40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dirty="0" smtClean="0"/>
              <a:t>MVC is Another Alternative in the Stack</a:t>
            </a:r>
            <a:endParaRPr lang="en-US" dirty="0"/>
          </a:p>
        </p:txBody>
      </p:sp>
      <p:sp>
        <p:nvSpPr>
          <p:cNvPr id="21" name="Rectangle 20"/>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2" name="Rectangle 21"/>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25" name="Rectangle 2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26" name="Rectangle 2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27" name="Rectangle 2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30" name="Rectangle 29"/>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31" name="Rectangle 30"/>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32" name="Rectangle 31"/>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33"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35" name="Rectangle 34"/>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36" name="Rectangle 35"/>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37" name="Rectangle 36"/>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41" name="Rectangle 40"/>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3" name="Rectangle 42"/>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4" name="Rectangle 33"/>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39" name="Rectangle 38"/>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4" name="Rectangle 43"/>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45" name="Rectangle 44"/>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grpSp>
        <p:nvGrpSpPr>
          <p:cNvPr id="9" name="Group 8"/>
          <p:cNvGrpSpPr/>
          <p:nvPr/>
        </p:nvGrpSpPr>
        <p:grpSpPr>
          <a:xfrm rot="16200000">
            <a:off x="10172333" y="1408026"/>
            <a:ext cx="876467" cy="1423115"/>
            <a:chOff x="9889114" y="1703024"/>
            <a:chExt cx="1433009" cy="876390"/>
          </a:xfrm>
        </p:grpSpPr>
        <p:sp>
          <p:nvSpPr>
            <p:cNvPr id="46" name="Rectangle 45"/>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7" name="Rectangle 46"/>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886939626"/>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MVC Works</a:t>
            </a:r>
          </a:p>
        </p:txBody>
      </p:sp>
      <p:sp>
        <p:nvSpPr>
          <p:cNvPr id="3" name="Content Placeholder 1"/>
          <p:cNvSpPr txBox="1">
            <a:spLocks/>
          </p:cNvSpPr>
          <p:nvPr/>
        </p:nvSpPr>
        <p:spPr>
          <a:xfrm>
            <a:off x="527050" y="1121921"/>
            <a:ext cx="11149013" cy="409168"/>
          </a:xfrm>
          <a:prstGeom prst="rect">
            <a:avLst/>
          </a:prstGeom>
        </p:spPr>
        <p:txBody>
          <a:bodyPr vert="horz" wrap="square" lIns="0" tIns="0" rIns="0" bIns="0" rtlCol="0" anchor="ctr">
            <a:noAutofit/>
          </a:bodyPr>
          <a:lstStyle>
            <a:lvl1pPr indent="0" defTabSz="685864">
              <a:lnSpc>
                <a:spcPct val="90000"/>
              </a:lnSpc>
              <a:spcBef>
                <a:spcPts val="1200"/>
              </a:spcBef>
              <a:buSzPct val="80000"/>
              <a:buFont typeface="Arial" pitchFamily="34" charset="0"/>
              <a:buNone/>
              <a:defRPr sz="2800">
                <a:solidFill>
                  <a:schemeClr val="accent2"/>
                </a:solidFill>
              </a:defRPr>
            </a:lvl1pPr>
            <a:lvl2pPr marL="259591" lvl="1" indent="0" defTabSz="685864">
              <a:lnSpc>
                <a:spcPct val="90000"/>
              </a:lnSpc>
              <a:spcBef>
                <a:spcPts val="1200"/>
              </a:spcBef>
              <a:buSzPct val="80000"/>
              <a:buFont typeface="Arial" pitchFamily="34" charset="0"/>
              <a:buNone/>
              <a:defRPr>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a:solidFill>
                  <a:schemeClr val="accent2">
                    <a:alpha val="99000"/>
                  </a:schemeClr>
                </a:solidFill>
                <a:latin typeface="Segoe UI Light" pitchFamily="34" charset="0"/>
              </a:rPr>
              <a:t>What does MVC look like</a:t>
            </a:r>
            <a:r>
              <a:rPr lang="en-US" dirty="0" smtClean="0">
                <a:solidFill>
                  <a:schemeClr val="accent2">
                    <a:alpha val="99000"/>
                  </a:schemeClr>
                </a:solidFill>
                <a:latin typeface="Segoe UI Light" pitchFamily="34" charset="0"/>
              </a:rPr>
              <a:t>?</a:t>
            </a:r>
            <a:endParaRPr lang="en-US" dirty="0">
              <a:solidFill>
                <a:schemeClr val="accent2">
                  <a:alpha val="99000"/>
                </a:schemeClr>
              </a:solidFill>
              <a:latin typeface="Segoe UI Light" pitchFamily="34" charset="0"/>
            </a:endParaRPr>
          </a:p>
        </p:txBody>
      </p:sp>
      <p:grpSp>
        <p:nvGrpSpPr>
          <p:cNvPr id="18" name="Group 17"/>
          <p:cNvGrpSpPr/>
          <p:nvPr/>
        </p:nvGrpSpPr>
        <p:grpSpPr>
          <a:xfrm>
            <a:off x="5751512" y="2676655"/>
            <a:ext cx="685800" cy="1293628"/>
            <a:chOff x="5751512" y="2676655"/>
            <a:chExt cx="685800" cy="1293628"/>
          </a:xfrm>
        </p:grpSpPr>
        <p:sp>
          <p:nvSpPr>
            <p:cNvPr id="16" name="Left Arrow 15"/>
            <p:cNvSpPr/>
            <p:nvPr/>
          </p:nvSpPr>
          <p:spPr bwMode="auto">
            <a:xfrm rot="16200000">
              <a:off x="5447598" y="3161581"/>
              <a:ext cx="1293628" cy="323775"/>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
          <p:nvSpPr>
            <p:cNvPr id="7" name="Freeform 6"/>
            <p:cNvSpPr>
              <a:spLocks noEditPoints="1"/>
            </p:cNvSpPr>
            <p:nvPr/>
          </p:nvSpPr>
          <p:spPr bwMode="black">
            <a:xfrm>
              <a:off x="5751512" y="3065048"/>
              <a:ext cx="685800" cy="530225"/>
            </a:xfrm>
            <a:custGeom>
              <a:avLst/>
              <a:gdLst>
                <a:gd name="T0" fmla="*/ 874 w 1429"/>
                <a:gd name="T1" fmla="*/ 611 h 1104"/>
                <a:gd name="T2" fmla="*/ 874 w 1429"/>
                <a:gd name="T3" fmla="*/ 611 h 1104"/>
                <a:gd name="T4" fmla="*/ 874 w 1429"/>
                <a:gd name="T5" fmla="*/ 572 h 1104"/>
                <a:gd name="T6" fmla="*/ 1429 w 1429"/>
                <a:gd name="T7" fmla="*/ 572 h 1104"/>
                <a:gd name="T8" fmla="*/ 1429 w 1429"/>
                <a:gd name="T9" fmla="*/ 1017 h 1104"/>
                <a:gd name="T10" fmla="*/ 1341 w 1429"/>
                <a:gd name="T11" fmla="*/ 1104 h 1104"/>
                <a:gd name="T12" fmla="*/ 88 w 1429"/>
                <a:gd name="T13" fmla="*/ 1104 h 1104"/>
                <a:gd name="T14" fmla="*/ 0 w 1429"/>
                <a:gd name="T15" fmla="*/ 1017 h 1104"/>
                <a:gd name="T16" fmla="*/ 0 w 1429"/>
                <a:gd name="T17" fmla="*/ 572 h 1104"/>
                <a:gd name="T18" fmla="*/ 577 w 1429"/>
                <a:gd name="T19" fmla="*/ 572 h 1104"/>
                <a:gd name="T20" fmla="*/ 577 w 1429"/>
                <a:gd name="T21" fmla="*/ 611 h 1104"/>
                <a:gd name="T22" fmla="*/ 665 w 1429"/>
                <a:gd name="T23" fmla="*/ 698 h 1104"/>
                <a:gd name="T24" fmla="*/ 786 w 1429"/>
                <a:gd name="T25" fmla="*/ 698 h 1104"/>
                <a:gd name="T26" fmla="*/ 874 w 1429"/>
                <a:gd name="T27" fmla="*/ 611 h 1104"/>
                <a:gd name="T28" fmla="*/ 1341 w 1429"/>
                <a:gd name="T29" fmla="*/ 214 h 1104"/>
                <a:gd name="T30" fmla="*/ 1429 w 1429"/>
                <a:gd name="T31" fmla="*/ 297 h 1104"/>
                <a:gd name="T32" fmla="*/ 1429 w 1429"/>
                <a:gd name="T33" fmla="*/ 528 h 1104"/>
                <a:gd name="T34" fmla="*/ 874 w 1429"/>
                <a:gd name="T35" fmla="*/ 528 h 1104"/>
                <a:gd name="T36" fmla="*/ 874 w 1429"/>
                <a:gd name="T37" fmla="*/ 489 h 1104"/>
                <a:gd name="T38" fmla="*/ 786 w 1429"/>
                <a:gd name="T39" fmla="*/ 407 h 1104"/>
                <a:gd name="T40" fmla="*/ 665 w 1429"/>
                <a:gd name="T41" fmla="*/ 407 h 1104"/>
                <a:gd name="T42" fmla="*/ 577 w 1429"/>
                <a:gd name="T43" fmla="*/ 489 h 1104"/>
                <a:gd name="T44" fmla="*/ 577 w 1429"/>
                <a:gd name="T45" fmla="*/ 528 h 1104"/>
                <a:gd name="T46" fmla="*/ 0 w 1429"/>
                <a:gd name="T47" fmla="*/ 528 h 1104"/>
                <a:gd name="T48" fmla="*/ 0 w 1429"/>
                <a:gd name="T49" fmla="*/ 297 h 1104"/>
                <a:gd name="T50" fmla="*/ 88 w 1429"/>
                <a:gd name="T51" fmla="*/ 214 h 1104"/>
                <a:gd name="T52" fmla="*/ 258 w 1429"/>
                <a:gd name="T53" fmla="*/ 214 h 1104"/>
                <a:gd name="T54" fmla="*/ 258 w 1429"/>
                <a:gd name="T55" fmla="*/ 104 h 1104"/>
                <a:gd name="T56" fmla="*/ 384 w 1429"/>
                <a:gd name="T57" fmla="*/ 0 h 1104"/>
                <a:gd name="T58" fmla="*/ 1039 w 1429"/>
                <a:gd name="T59" fmla="*/ 0 h 1104"/>
                <a:gd name="T60" fmla="*/ 1165 w 1429"/>
                <a:gd name="T61" fmla="*/ 104 h 1104"/>
                <a:gd name="T62" fmla="*/ 1165 w 1429"/>
                <a:gd name="T63" fmla="*/ 214 h 1104"/>
                <a:gd name="T64" fmla="*/ 1341 w 1429"/>
                <a:gd name="T65" fmla="*/ 214 h 1104"/>
                <a:gd name="T66" fmla="*/ 1082 w 1429"/>
                <a:gd name="T67" fmla="*/ 214 h 1104"/>
                <a:gd name="T68" fmla="*/ 1082 w 1429"/>
                <a:gd name="T69" fmla="*/ 214 h 1104"/>
                <a:gd name="T70" fmla="*/ 1082 w 1429"/>
                <a:gd name="T71" fmla="*/ 104 h 1104"/>
                <a:gd name="T72" fmla="*/ 1039 w 1429"/>
                <a:gd name="T73" fmla="*/ 77 h 1104"/>
                <a:gd name="T74" fmla="*/ 384 w 1429"/>
                <a:gd name="T75" fmla="*/ 77 h 1104"/>
                <a:gd name="T76" fmla="*/ 335 w 1429"/>
                <a:gd name="T77" fmla="*/ 104 h 1104"/>
                <a:gd name="T78" fmla="*/ 335 w 1429"/>
                <a:gd name="T79" fmla="*/ 214 h 1104"/>
                <a:gd name="T80" fmla="*/ 1082 w 1429"/>
                <a:gd name="T81" fmla="*/ 21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29" h="1104">
                  <a:moveTo>
                    <a:pt x="874" y="611"/>
                  </a:moveTo>
                  <a:cubicBezTo>
                    <a:pt x="874" y="611"/>
                    <a:pt x="874" y="611"/>
                    <a:pt x="874" y="611"/>
                  </a:cubicBezTo>
                  <a:cubicBezTo>
                    <a:pt x="874" y="572"/>
                    <a:pt x="874" y="572"/>
                    <a:pt x="874" y="572"/>
                  </a:cubicBezTo>
                  <a:cubicBezTo>
                    <a:pt x="874" y="572"/>
                    <a:pt x="874" y="572"/>
                    <a:pt x="1429" y="572"/>
                  </a:cubicBezTo>
                  <a:cubicBezTo>
                    <a:pt x="1429" y="572"/>
                    <a:pt x="1429" y="572"/>
                    <a:pt x="1429" y="1017"/>
                  </a:cubicBezTo>
                  <a:cubicBezTo>
                    <a:pt x="1429" y="1066"/>
                    <a:pt x="1390" y="1104"/>
                    <a:pt x="1341" y="1104"/>
                  </a:cubicBezTo>
                  <a:cubicBezTo>
                    <a:pt x="1341" y="1104"/>
                    <a:pt x="1341" y="1104"/>
                    <a:pt x="88" y="1104"/>
                  </a:cubicBezTo>
                  <a:cubicBezTo>
                    <a:pt x="44" y="1104"/>
                    <a:pt x="0" y="1066"/>
                    <a:pt x="0" y="1017"/>
                  </a:cubicBezTo>
                  <a:cubicBezTo>
                    <a:pt x="0" y="1017"/>
                    <a:pt x="0" y="1017"/>
                    <a:pt x="0" y="572"/>
                  </a:cubicBezTo>
                  <a:cubicBezTo>
                    <a:pt x="0" y="572"/>
                    <a:pt x="0" y="572"/>
                    <a:pt x="577" y="572"/>
                  </a:cubicBezTo>
                  <a:cubicBezTo>
                    <a:pt x="577" y="572"/>
                    <a:pt x="577" y="572"/>
                    <a:pt x="577" y="611"/>
                  </a:cubicBezTo>
                  <a:cubicBezTo>
                    <a:pt x="577" y="660"/>
                    <a:pt x="615" y="698"/>
                    <a:pt x="665" y="698"/>
                  </a:cubicBezTo>
                  <a:cubicBezTo>
                    <a:pt x="665" y="698"/>
                    <a:pt x="665" y="698"/>
                    <a:pt x="786" y="698"/>
                  </a:cubicBezTo>
                  <a:cubicBezTo>
                    <a:pt x="835" y="698"/>
                    <a:pt x="874" y="660"/>
                    <a:pt x="874" y="611"/>
                  </a:cubicBezTo>
                  <a:close/>
                  <a:moveTo>
                    <a:pt x="1341" y="214"/>
                  </a:moveTo>
                  <a:cubicBezTo>
                    <a:pt x="1390" y="214"/>
                    <a:pt x="1429" y="253"/>
                    <a:pt x="1429" y="297"/>
                  </a:cubicBezTo>
                  <a:cubicBezTo>
                    <a:pt x="1429" y="297"/>
                    <a:pt x="1429" y="297"/>
                    <a:pt x="1429" y="528"/>
                  </a:cubicBezTo>
                  <a:cubicBezTo>
                    <a:pt x="1429" y="528"/>
                    <a:pt x="1429" y="528"/>
                    <a:pt x="874" y="528"/>
                  </a:cubicBezTo>
                  <a:cubicBezTo>
                    <a:pt x="874" y="528"/>
                    <a:pt x="874" y="528"/>
                    <a:pt x="874" y="489"/>
                  </a:cubicBezTo>
                  <a:cubicBezTo>
                    <a:pt x="874" y="445"/>
                    <a:pt x="835" y="407"/>
                    <a:pt x="786" y="407"/>
                  </a:cubicBezTo>
                  <a:cubicBezTo>
                    <a:pt x="786" y="407"/>
                    <a:pt x="786" y="407"/>
                    <a:pt x="665" y="407"/>
                  </a:cubicBezTo>
                  <a:cubicBezTo>
                    <a:pt x="615" y="407"/>
                    <a:pt x="577" y="445"/>
                    <a:pt x="577" y="489"/>
                  </a:cubicBezTo>
                  <a:cubicBezTo>
                    <a:pt x="577" y="489"/>
                    <a:pt x="577" y="489"/>
                    <a:pt x="577" y="528"/>
                  </a:cubicBezTo>
                  <a:cubicBezTo>
                    <a:pt x="577" y="528"/>
                    <a:pt x="577" y="528"/>
                    <a:pt x="0" y="528"/>
                  </a:cubicBezTo>
                  <a:cubicBezTo>
                    <a:pt x="0" y="528"/>
                    <a:pt x="0" y="528"/>
                    <a:pt x="0" y="297"/>
                  </a:cubicBezTo>
                  <a:cubicBezTo>
                    <a:pt x="0" y="253"/>
                    <a:pt x="44" y="214"/>
                    <a:pt x="88" y="214"/>
                  </a:cubicBezTo>
                  <a:cubicBezTo>
                    <a:pt x="88" y="214"/>
                    <a:pt x="88" y="214"/>
                    <a:pt x="258" y="214"/>
                  </a:cubicBezTo>
                  <a:cubicBezTo>
                    <a:pt x="258" y="214"/>
                    <a:pt x="258" y="214"/>
                    <a:pt x="258" y="104"/>
                  </a:cubicBezTo>
                  <a:cubicBezTo>
                    <a:pt x="258" y="44"/>
                    <a:pt x="313" y="0"/>
                    <a:pt x="384" y="0"/>
                  </a:cubicBezTo>
                  <a:cubicBezTo>
                    <a:pt x="384" y="0"/>
                    <a:pt x="384" y="0"/>
                    <a:pt x="1039" y="0"/>
                  </a:cubicBezTo>
                  <a:cubicBezTo>
                    <a:pt x="1110" y="0"/>
                    <a:pt x="1165" y="44"/>
                    <a:pt x="1165" y="104"/>
                  </a:cubicBezTo>
                  <a:cubicBezTo>
                    <a:pt x="1165" y="104"/>
                    <a:pt x="1165" y="104"/>
                    <a:pt x="1165" y="214"/>
                  </a:cubicBezTo>
                  <a:cubicBezTo>
                    <a:pt x="1165" y="214"/>
                    <a:pt x="1165" y="214"/>
                    <a:pt x="1341" y="214"/>
                  </a:cubicBezTo>
                  <a:close/>
                  <a:moveTo>
                    <a:pt x="1082" y="214"/>
                  </a:moveTo>
                  <a:cubicBezTo>
                    <a:pt x="1082" y="214"/>
                    <a:pt x="1082" y="214"/>
                    <a:pt x="1082" y="214"/>
                  </a:cubicBezTo>
                  <a:cubicBezTo>
                    <a:pt x="1082" y="104"/>
                    <a:pt x="1082" y="104"/>
                    <a:pt x="1082" y="104"/>
                  </a:cubicBezTo>
                  <a:cubicBezTo>
                    <a:pt x="1082" y="93"/>
                    <a:pt x="1066" y="77"/>
                    <a:pt x="1039" y="77"/>
                  </a:cubicBezTo>
                  <a:cubicBezTo>
                    <a:pt x="1039" y="77"/>
                    <a:pt x="1039" y="77"/>
                    <a:pt x="384" y="77"/>
                  </a:cubicBezTo>
                  <a:cubicBezTo>
                    <a:pt x="352" y="77"/>
                    <a:pt x="335" y="93"/>
                    <a:pt x="335" y="104"/>
                  </a:cubicBezTo>
                  <a:cubicBezTo>
                    <a:pt x="335" y="104"/>
                    <a:pt x="335" y="104"/>
                    <a:pt x="335" y="214"/>
                  </a:cubicBezTo>
                  <a:cubicBezTo>
                    <a:pt x="335" y="214"/>
                    <a:pt x="335" y="214"/>
                    <a:pt x="1082" y="21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9" name="Chart 8"/>
          <p:cNvGraphicFramePr/>
          <p:nvPr>
            <p:extLst/>
          </p:nvPr>
        </p:nvGraphicFramePr>
        <p:xfrm>
          <a:off x="6252598" y="5145854"/>
          <a:ext cx="1115765" cy="999765"/>
        </p:xfrm>
        <a:graphic>
          <a:graphicData uri="http://schemas.openxmlformats.org/drawingml/2006/chart">
            <c:chart xmlns:c="http://schemas.openxmlformats.org/drawingml/2006/chart" xmlns:r="http://schemas.openxmlformats.org/officeDocument/2006/relationships" r:id="rId3"/>
          </a:graphicData>
        </a:graphic>
      </p:graphicFrame>
      <p:grpSp>
        <p:nvGrpSpPr>
          <p:cNvPr id="20" name="Group 19"/>
          <p:cNvGrpSpPr/>
          <p:nvPr/>
        </p:nvGrpSpPr>
        <p:grpSpPr>
          <a:xfrm>
            <a:off x="4951412" y="5380624"/>
            <a:ext cx="1354352" cy="530225"/>
            <a:chOff x="4951412" y="5380624"/>
            <a:chExt cx="1354352" cy="530225"/>
          </a:xfrm>
        </p:grpSpPr>
        <p:sp>
          <p:nvSpPr>
            <p:cNvPr id="8" name="Freeform 7"/>
            <p:cNvSpPr>
              <a:spLocks noEditPoints="1"/>
            </p:cNvSpPr>
            <p:nvPr/>
          </p:nvSpPr>
          <p:spPr bwMode="black">
            <a:xfrm>
              <a:off x="4951412" y="5380624"/>
              <a:ext cx="685800" cy="530225"/>
            </a:xfrm>
            <a:custGeom>
              <a:avLst/>
              <a:gdLst>
                <a:gd name="T0" fmla="*/ 874 w 1429"/>
                <a:gd name="T1" fmla="*/ 611 h 1104"/>
                <a:gd name="T2" fmla="*/ 874 w 1429"/>
                <a:gd name="T3" fmla="*/ 611 h 1104"/>
                <a:gd name="T4" fmla="*/ 874 w 1429"/>
                <a:gd name="T5" fmla="*/ 572 h 1104"/>
                <a:gd name="T6" fmla="*/ 1429 w 1429"/>
                <a:gd name="T7" fmla="*/ 572 h 1104"/>
                <a:gd name="T8" fmla="*/ 1429 w 1429"/>
                <a:gd name="T9" fmla="*/ 1017 h 1104"/>
                <a:gd name="T10" fmla="*/ 1341 w 1429"/>
                <a:gd name="T11" fmla="*/ 1104 h 1104"/>
                <a:gd name="T12" fmla="*/ 88 w 1429"/>
                <a:gd name="T13" fmla="*/ 1104 h 1104"/>
                <a:gd name="T14" fmla="*/ 0 w 1429"/>
                <a:gd name="T15" fmla="*/ 1017 h 1104"/>
                <a:gd name="T16" fmla="*/ 0 w 1429"/>
                <a:gd name="T17" fmla="*/ 572 h 1104"/>
                <a:gd name="T18" fmla="*/ 577 w 1429"/>
                <a:gd name="T19" fmla="*/ 572 h 1104"/>
                <a:gd name="T20" fmla="*/ 577 w 1429"/>
                <a:gd name="T21" fmla="*/ 611 h 1104"/>
                <a:gd name="T22" fmla="*/ 665 w 1429"/>
                <a:gd name="T23" fmla="*/ 698 h 1104"/>
                <a:gd name="T24" fmla="*/ 786 w 1429"/>
                <a:gd name="T25" fmla="*/ 698 h 1104"/>
                <a:gd name="T26" fmla="*/ 874 w 1429"/>
                <a:gd name="T27" fmla="*/ 611 h 1104"/>
                <a:gd name="T28" fmla="*/ 1341 w 1429"/>
                <a:gd name="T29" fmla="*/ 214 h 1104"/>
                <a:gd name="T30" fmla="*/ 1429 w 1429"/>
                <a:gd name="T31" fmla="*/ 297 h 1104"/>
                <a:gd name="T32" fmla="*/ 1429 w 1429"/>
                <a:gd name="T33" fmla="*/ 528 h 1104"/>
                <a:gd name="T34" fmla="*/ 874 w 1429"/>
                <a:gd name="T35" fmla="*/ 528 h 1104"/>
                <a:gd name="T36" fmla="*/ 874 w 1429"/>
                <a:gd name="T37" fmla="*/ 489 h 1104"/>
                <a:gd name="T38" fmla="*/ 786 w 1429"/>
                <a:gd name="T39" fmla="*/ 407 h 1104"/>
                <a:gd name="T40" fmla="*/ 665 w 1429"/>
                <a:gd name="T41" fmla="*/ 407 h 1104"/>
                <a:gd name="T42" fmla="*/ 577 w 1429"/>
                <a:gd name="T43" fmla="*/ 489 h 1104"/>
                <a:gd name="T44" fmla="*/ 577 w 1429"/>
                <a:gd name="T45" fmla="*/ 528 h 1104"/>
                <a:gd name="T46" fmla="*/ 0 w 1429"/>
                <a:gd name="T47" fmla="*/ 528 h 1104"/>
                <a:gd name="T48" fmla="*/ 0 w 1429"/>
                <a:gd name="T49" fmla="*/ 297 h 1104"/>
                <a:gd name="T50" fmla="*/ 88 w 1429"/>
                <a:gd name="T51" fmla="*/ 214 h 1104"/>
                <a:gd name="T52" fmla="*/ 258 w 1429"/>
                <a:gd name="T53" fmla="*/ 214 h 1104"/>
                <a:gd name="T54" fmla="*/ 258 w 1429"/>
                <a:gd name="T55" fmla="*/ 104 h 1104"/>
                <a:gd name="T56" fmla="*/ 384 w 1429"/>
                <a:gd name="T57" fmla="*/ 0 h 1104"/>
                <a:gd name="T58" fmla="*/ 1039 w 1429"/>
                <a:gd name="T59" fmla="*/ 0 h 1104"/>
                <a:gd name="T60" fmla="*/ 1165 w 1429"/>
                <a:gd name="T61" fmla="*/ 104 h 1104"/>
                <a:gd name="T62" fmla="*/ 1165 w 1429"/>
                <a:gd name="T63" fmla="*/ 214 h 1104"/>
                <a:gd name="T64" fmla="*/ 1341 w 1429"/>
                <a:gd name="T65" fmla="*/ 214 h 1104"/>
                <a:gd name="T66" fmla="*/ 1082 w 1429"/>
                <a:gd name="T67" fmla="*/ 214 h 1104"/>
                <a:gd name="T68" fmla="*/ 1082 w 1429"/>
                <a:gd name="T69" fmla="*/ 214 h 1104"/>
                <a:gd name="T70" fmla="*/ 1082 w 1429"/>
                <a:gd name="T71" fmla="*/ 104 h 1104"/>
                <a:gd name="T72" fmla="*/ 1039 w 1429"/>
                <a:gd name="T73" fmla="*/ 77 h 1104"/>
                <a:gd name="T74" fmla="*/ 384 w 1429"/>
                <a:gd name="T75" fmla="*/ 77 h 1104"/>
                <a:gd name="T76" fmla="*/ 335 w 1429"/>
                <a:gd name="T77" fmla="*/ 104 h 1104"/>
                <a:gd name="T78" fmla="*/ 335 w 1429"/>
                <a:gd name="T79" fmla="*/ 214 h 1104"/>
                <a:gd name="T80" fmla="*/ 1082 w 1429"/>
                <a:gd name="T81" fmla="*/ 21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29" h="1104">
                  <a:moveTo>
                    <a:pt x="874" y="611"/>
                  </a:moveTo>
                  <a:cubicBezTo>
                    <a:pt x="874" y="611"/>
                    <a:pt x="874" y="611"/>
                    <a:pt x="874" y="611"/>
                  </a:cubicBezTo>
                  <a:cubicBezTo>
                    <a:pt x="874" y="572"/>
                    <a:pt x="874" y="572"/>
                    <a:pt x="874" y="572"/>
                  </a:cubicBezTo>
                  <a:cubicBezTo>
                    <a:pt x="874" y="572"/>
                    <a:pt x="874" y="572"/>
                    <a:pt x="1429" y="572"/>
                  </a:cubicBezTo>
                  <a:cubicBezTo>
                    <a:pt x="1429" y="572"/>
                    <a:pt x="1429" y="572"/>
                    <a:pt x="1429" y="1017"/>
                  </a:cubicBezTo>
                  <a:cubicBezTo>
                    <a:pt x="1429" y="1066"/>
                    <a:pt x="1390" y="1104"/>
                    <a:pt x="1341" y="1104"/>
                  </a:cubicBezTo>
                  <a:cubicBezTo>
                    <a:pt x="1341" y="1104"/>
                    <a:pt x="1341" y="1104"/>
                    <a:pt x="88" y="1104"/>
                  </a:cubicBezTo>
                  <a:cubicBezTo>
                    <a:pt x="44" y="1104"/>
                    <a:pt x="0" y="1066"/>
                    <a:pt x="0" y="1017"/>
                  </a:cubicBezTo>
                  <a:cubicBezTo>
                    <a:pt x="0" y="1017"/>
                    <a:pt x="0" y="1017"/>
                    <a:pt x="0" y="572"/>
                  </a:cubicBezTo>
                  <a:cubicBezTo>
                    <a:pt x="0" y="572"/>
                    <a:pt x="0" y="572"/>
                    <a:pt x="577" y="572"/>
                  </a:cubicBezTo>
                  <a:cubicBezTo>
                    <a:pt x="577" y="572"/>
                    <a:pt x="577" y="572"/>
                    <a:pt x="577" y="611"/>
                  </a:cubicBezTo>
                  <a:cubicBezTo>
                    <a:pt x="577" y="660"/>
                    <a:pt x="615" y="698"/>
                    <a:pt x="665" y="698"/>
                  </a:cubicBezTo>
                  <a:cubicBezTo>
                    <a:pt x="665" y="698"/>
                    <a:pt x="665" y="698"/>
                    <a:pt x="786" y="698"/>
                  </a:cubicBezTo>
                  <a:cubicBezTo>
                    <a:pt x="835" y="698"/>
                    <a:pt x="874" y="660"/>
                    <a:pt x="874" y="611"/>
                  </a:cubicBezTo>
                  <a:close/>
                  <a:moveTo>
                    <a:pt x="1341" y="214"/>
                  </a:moveTo>
                  <a:cubicBezTo>
                    <a:pt x="1390" y="214"/>
                    <a:pt x="1429" y="253"/>
                    <a:pt x="1429" y="297"/>
                  </a:cubicBezTo>
                  <a:cubicBezTo>
                    <a:pt x="1429" y="297"/>
                    <a:pt x="1429" y="297"/>
                    <a:pt x="1429" y="528"/>
                  </a:cubicBezTo>
                  <a:cubicBezTo>
                    <a:pt x="1429" y="528"/>
                    <a:pt x="1429" y="528"/>
                    <a:pt x="874" y="528"/>
                  </a:cubicBezTo>
                  <a:cubicBezTo>
                    <a:pt x="874" y="528"/>
                    <a:pt x="874" y="528"/>
                    <a:pt x="874" y="489"/>
                  </a:cubicBezTo>
                  <a:cubicBezTo>
                    <a:pt x="874" y="445"/>
                    <a:pt x="835" y="407"/>
                    <a:pt x="786" y="407"/>
                  </a:cubicBezTo>
                  <a:cubicBezTo>
                    <a:pt x="786" y="407"/>
                    <a:pt x="786" y="407"/>
                    <a:pt x="665" y="407"/>
                  </a:cubicBezTo>
                  <a:cubicBezTo>
                    <a:pt x="615" y="407"/>
                    <a:pt x="577" y="445"/>
                    <a:pt x="577" y="489"/>
                  </a:cubicBezTo>
                  <a:cubicBezTo>
                    <a:pt x="577" y="489"/>
                    <a:pt x="577" y="489"/>
                    <a:pt x="577" y="528"/>
                  </a:cubicBezTo>
                  <a:cubicBezTo>
                    <a:pt x="577" y="528"/>
                    <a:pt x="577" y="528"/>
                    <a:pt x="0" y="528"/>
                  </a:cubicBezTo>
                  <a:cubicBezTo>
                    <a:pt x="0" y="528"/>
                    <a:pt x="0" y="528"/>
                    <a:pt x="0" y="297"/>
                  </a:cubicBezTo>
                  <a:cubicBezTo>
                    <a:pt x="0" y="253"/>
                    <a:pt x="44" y="214"/>
                    <a:pt x="88" y="214"/>
                  </a:cubicBezTo>
                  <a:cubicBezTo>
                    <a:pt x="88" y="214"/>
                    <a:pt x="88" y="214"/>
                    <a:pt x="258" y="214"/>
                  </a:cubicBezTo>
                  <a:cubicBezTo>
                    <a:pt x="258" y="214"/>
                    <a:pt x="258" y="214"/>
                    <a:pt x="258" y="104"/>
                  </a:cubicBezTo>
                  <a:cubicBezTo>
                    <a:pt x="258" y="44"/>
                    <a:pt x="313" y="0"/>
                    <a:pt x="384" y="0"/>
                  </a:cubicBezTo>
                  <a:cubicBezTo>
                    <a:pt x="384" y="0"/>
                    <a:pt x="384" y="0"/>
                    <a:pt x="1039" y="0"/>
                  </a:cubicBezTo>
                  <a:cubicBezTo>
                    <a:pt x="1110" y="0"/>
                    <a:pt x="1165" y="44"/>
                    <a:pt x="1165" y="104"/>
                  </a:cubicBezTo>
                  <a:cubicBezTo>
                    <a:pt x="1165" y="104"/>
                    <a:pt x="1165" y="104"/>
                    <a:pt x="1165" y="214"/>
                  </a:cubicBezTo>
                  <a:cubicBezTo>
                    <a:pt x="1165" y="214"/>
                    <a:pt x="1165" y="214"/>
                    <a:pt x="1341" y="214"/>
                  </a:cubicBezTo>
                  <a:close/>
                  <a:moveTo>
                    <a:pt x="1082" y="214"/>
                  </a:moveTo>
                  <a:cubicBezTo>
                    <a:pt x="1082" y="214"/>
                    <a:pt x="1082" y="214"/>
                    <a:pt x="1082" y="214"/>
                  </a:cubicBezTo>
                  <a:cubicBezTo>
                    <a:pt x="1082" y="104"/>
                    <a:pt x="1082" y="104"/>
                    <a:pt x="1082" y="104"/>
                  </a:cubicBezTo>
                  <a:cubicBezTo>
                    <a:pt x="1082" y="93"/>
                    <a:pt x="1066" y="77"/>
                    <a:pt x="1039" y="77"/>
                  </a:cubicBezTo>
                  <a:cubicBezTo>
                    <a:pt x="1039" y="77"/>
                    <a:pt x="1039" y="77"/>
                    <a:pt x="384" y="77"/>
                  </a:cubicBezTo>
                  <a:cubicBezTo>
                    <a:pt x="352" y="77"/>
                    <a:pt x="335" y="93"/>
                    <a:pt x="335" y="104"/>
                  </a:cubicBezTo>
                  <a:cubicBezTo>
                    <a:pt x="335" y="104"/>
                    <a:pt x="335" y="104"/>
                    <a:pt x="335" y="214"/>
                  </a:cubicBezTo>
                  <a:cubicBezTo>
                    <a:pt x="335" y="214"/>
                    <a:pt x="335" y="214"/>
                    <a:pt x="1082" y="21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0" name="Right Arrow 9"/>
            <p:cNvSpPr/>
            <p:nvPr/>
          </p:nvSpPr>
          <p:spPr bwMode="auto">
            <a:xfrm>
              <a:off x="5804678" y="5447189"/>
              <a:ext cx="501086" cy="397095"/>
            </a:xfrm>
            <a:prstGeom prst="rightArrow">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grpSp>
      <p:grpSp>
        <p:nvGrpSpPr>
          <p:cNvPr id="17" name="Group 16"/>
          <p:cNvGrpSpPr/>
          <p:nvPr/>
        </p:nvGrpSpPr>
        <p:grpSpPr>
          <a:xfrm>
            <a:off x="4951412" y="1690578"/>
            <a:ext cx="6117081" cy="999461"/>
            <a:chOff x="4951412" y="1690578"/>
            <a:chExt cx="6117081" cy="999461"/>
          </a:xfrm>
        </p:grpSpPr>
        <p:sp>
          <p:nvSpPr>
            <p:cNvPr id="4" name="Rectangle 3"/>
            <p:cNvSpPr/>
            <p:nvPr/>
          </p:nvSpPr>
          <p:spPr bwMode="auto">
            <a:xfrm>
              <a:off x="4951412" y="1690578"/>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Controller</a:t>
              </a:r>
            </a:p>
          </p:txBody>
        </p:sp>
        <p:sp>
          <p:nvSpPr>
            <p:cNvPr id="11" name="Content Placeholder 2"/>
            <p:cNvSpPr txBox="1">
              <a:spLocks/>
            </p:cNvSpPr>
            <p:nvPr/>
          </p:nvSpPr>
          <p:spPr>
            <a:xfrm>
              <a:off x="7761767" y="1690579"/>
              <a:ext cx="3306726"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a:solidFill>
                    <a:schemeClr val="accent2"/>
                  </a:solidFill>
                </a:rPr>
                <a:t>Controller</a:t>
              </a:r>
            </a:p>
            <a:p>
              <a:pPr marL="0" lvl="1" indent="0" defTabSz="685864">
                <a:spcBef>
                  <a:spcPts val="600"/>
                </a:spcBef>
                <a:buNone/>
              </a:pPr>
              <a:r>
                <a:rPr lang="en-US" sz="2000" dirty="0"/>
                <a:t>Retrieves Model</a:t>
              </a:r>
            </a:p>
            <a:p>
              <a:pPr marL="0" lvl="1" indent="0" defTabSz="685864">
                <a:spcBef>
                  <a:spcPts val="600"/>
                </a:spcBef>
                <a:buNone/>
              </a:pPr>
              <a:r>
                <a:rPr lang="en-US" sz="2000" dirty="0"/>
                <a:t>“Does Stuff”</a:t>
              </a:r>
            </a:p>
          </p:txBody>
        </p:sp>
      </p:grpSp>
      <p:grpSp>
        <p:nvGrpSpPr>
          <p:cNvPr id="19" name="Group 18"/>
          <p:cNvGrpSpPr/>
          <p:nvPr/>
        </p:nvGrpSpPr>
        <p:grpSpPr>
          <a:xfrm>
            <a:off x="4951412" y="3963196"/>
            <a:ext cx="6117081" cy="1006547"/>
            <a:chOff x="4951412" y="3963196"/>
            <a:chExt cx="6117081" cy="1006547"/>
          </a:xfrm>
        </p:grpSpPr>
        <p:sp>
          <p:nvSpPr>
            <p:cNvPr id="5" name="Rectangle 4"/>
            <p:cNvSpPr/>
            <p:nvPr/>
          </p:nvSpPr>
          <p:spPr bwMode="auto">
            <a:xfrm>
              <a:off x="4951412" y="3970283"/>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View</a:t>
              </a:r>
              <a:endParaRPr lang="en-US" sz="2800" dirty="0">
                <a:gradFill>
                  <a:gsLst>
                    <a:gs pos="0">
                      <a:srgbClr val="FFFFFF"/>
                    </a:gs>
                    <a:gs pos="100000">
                      <a:srgbClr val="FFFFFF"/>
                    </a:gs>
                  </a:gsLst>
                  <a:lin ang="5400000" scaled="0"/>
                </a:gradFill>
              </a:endParaRPr>
            </a:p>
          </p:txBody>
        </p:sp>
        <p:sp>
          <p:nvSpPr>
            <p:cNvPr id="12" name="Content Placeholder 2"/>
            <p:cNvSpPr txBox="1">
              <a:spLocks/>
            </p:cNvSpPr>
            <p:nvPr/>
          </p:nvSpPr>
          <p:spPr>
            <a:xfrm>
              <a:off x="7761767" y="3963196"/>
              <a:ext cx="3306726"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a:solidFill>
                    <a:schemeClr val="accent2"/>
                  </a:solidFill>
                </a:rPr>
                <a:t>View</a:t>
              </a:r>
            </a:p>
            <a:p>
              <a:pPr marL="0" lvl="1" indent="0" defTabSz="685864">
                <a:spcBef>
                  <a:spcPts val="600"/>
                </a:spcBef>
                <a:buNone/>
              </a:pPr>
              <a:r>
                <a:rPr lang="en-US" sz="2000" dirty="0"/>
                <a:t>Visually represents</a:t>
              </a:r>
            </a:p>
            <a:p>
              <a:pPr marL="0" lvl="1" indent="0" defTabSz="685864">
                <a:spcBef>
                  <a:spcPts val="600"/>
                </a:spcBef>
                <a:buNone/>
              </a:pPr>
              <a:r>
                <a:rPr lang="en-US" sz="2000" dirty="0"/>
                <a:t>the model</a:t>
              </a:r>
            </a:p>
          </p:txBody>
        </p:sp>
      </p:grpSp>
      <p:sp>
        <p:nvSpPr>
          <p:cNvPr id="13" name="Right Arrow 12"/>
          <p:cNvSpPr/>
          <p:nvPr/>
        </p:nvSpPr>
        <p:spPr bwMode="auto">
          <a:xfrm>
            <a:off x="1945943" y="1690579"/>
            <a:ext cx="2286000" cy="999459"/>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a:t>
            </a:r>
          </a:p>
        </p:txBody>
      </p:sp>
      <p:grpSp>
        <p:nvGrpSpPr>
          <p:cNvPr id="21" name="Group 20"/>
          <p:cNvGrpSpPr/>
          <p:nvPr/>
        </p:nvGrpSpPr>
        <p:grpSpPr>
          <a:xfrm>
            <a:off x="1945943" y="3470400"/>
            <a:ext cx="2286000" cy="1492255"/>
            <a:chOff x="1945943" y="3470400"/>
            <a:chExt cx="2286000" cy="1492255"/>
          </a:xfrm>
        </p:grpSpPr>
        <p:sp>
          <p:nvSpPr>
            <p:cNvPr id="14" name="Left Arrow 13"/>
            <p:cNvSpPr/>
            <p:nvPr/>
          </p:nvSpPr>
          <p:spPr bwMode="auto">
            <a:xfrm>
              <a:off x="1945943" y="3963196"/>
              <a:ext cx="2286000" cy="999459"/>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sponse</a:t>
              </a:r>
            </a:p>
          </p:txBody>
        </p:sp>
        <p:graphicFrame>
          <p:nvGraphicFramePr>
            <p:cNvPr id="15" name="Chart 14"/>
            <p:cNvGraphicFramePr/>
            <p:nvPr>
              <p:extLst/>
            </p:nvPr>
          </p:nvGraphicFramePr>
          <p:xfrm>
            <a:off x="2531061" y="3470400"/>
            <a:ext cx="1115765" cy="999765"/>
          </p:xfrm>
          <a:graphic>
            <a:graphicData uri="http://schemas.openxmlformats.org/drawingml/2006/chart">
              <c:chart xmlns:c="http://schemas.openxmlformats.org/drawingml/2006/chart" xmlns:r="http://schemas.openxmlformats.org/officeDocument/2006/relationships" r:id="rId4"/>
            </a:graphicData>
          </a:graphic>
        </p:graphicFrame>
      </p:grpSp>
    </p:spTree>
    <p:extLst>
      <p:ext uri="{BB962C8B-B14F-4D97-AF65-F5344CB8AC3E}">
        <p14:creationId xmlns:p14="http://schemas.microsoft.com/office/powerpoint/2010/main" val="40097299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wipe(up)">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AsOne/>
      </p:bldGraphic>
      <p:bldP spid="1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reating a new ASP.NET MVC 4</a:t>
            </a:r>
            <a:br>
              <a:rPr lang="en-US" dirty="0" smtClean="0"/>
            </a:br>
            <a:r>
              <a:rPr lang="en-US" dirty="0" smtClean="0"/>
              <a:t>Application</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620952086"/>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Adding a model, controller, view</a:t>
            </a:r>
            <a:endParaRPr lang="en-US" dirty="0"/>
          </a:p>
        </p:txBody>
      </p:sp>
      <p:sp>
        <p:nvSpPr>
          <p:cNvPr id="5" name="Subtitle 4"/>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235228015"/>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ntity Framework Code First</a:t>
            </a:r>
            <a:endParaRPr lang="en-US" dirty="0"/>
          </a:p>
        </p:txBody>
      </p:sp>
      <p:sp>
        <p:nvSpPr>
          <p:cNvPr id="5" name="Subtitle 4"/>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76870556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ploying to Windows Azure Web Sites</a:t>
            </a:r>
            <a:endParaRPr lang="en-US" dirty="0"/>
          </a:p>
        </p:txBody>
      </p:sp>
      <p:sp>
        <p:nvSpPr>
          <p:cNvPr id="5" name="Subtitle 4"/>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5648702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738</TotalTime>
  <Words>653</Words>
  <Application>Microsoft Office PowerPoint</Application>
  <PresentationFormat>Custom</PresentationFormat>
  <Paragraphs>118</Paragraphs>
  <Slides>11</Slides>
  <Notes>8</Notes>
  <HiddenSlides>1</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9" baseType="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Building and Deploying Websites with ASP.NET MVC 4</vt:lpstr>
      <vt:lpstr>Agenda </vt:lpstr>
      <vt:lpstr>MVC is Another Alternative in the Stack</vt:lpstr>
      <vt:lpstr>How MVC Works</vt:lpstr>
      <vt:lpstr>Creating a new ASP.NET MVC 4 Application</vt:lpstr>
      <vt:lpstr>Adding a model, controller, view</vt:lpstr>
      <vt:lpstr>Entity Framework Code First</vt:lpstr>
      <vt:lpstr>Deploying to Windows Azure Web Sites</vt:lpstr>
      <vt:lpstr>Entity Framework Migrations</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nd Deploying Websites with ASP.NET MVC 4</dc:title>
  <dc:subject>Windows Azure</dc:subject>
  <dc:creator>Jon Galloway</dc:creator>
  <dc:description>
    In this session, you'll learn how to get started with ASP.NET MVC 4. We'll start with a new project, add in data access with Entity Framework Code First, build out some business logic and client-side interaction, and deploy it using Windows Azure Web Sites. But we're not done there: you'll see how new features in ASP.NET MVC, Entity Framework migrations and Visual Studio 2012 help you to gracefully handle site updates.
by Jon Gallowayjon.galloway@microsoft.com
http://weblogs.asp.net/jgalloway
</dc:description>
  <cp:lastModifiedBy>Jon Galloway</cp:lastModifiedBy>
  <cp:revision>368</cp:revision>
  <cp:lastPrinted>2011-10-11T14:25:22Z</cp:lastPrinted>
  <dcterms:created xsi:type="dcterms:W3CDTF">2011-03-29T16:07:22Z</dcterms:created>
  <dcterms:modified xsi:type="dcterms:W3CDTF">2012-12-21T07:09:59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